
<file path=[Content_Types].xml><?xml version="1.0" encoding="utf-8"?>
<Types xmlns="http://schemas.openxmlformats.org/package/2006/content-types"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webextensions/webextension2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3247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4" orient="horz" pos="327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7D"/>
    <a:srgbClr val="B8C9E3"/>
    <a:srgbClr val="A1F2FF"/>
    <a:srgbClr val="CEE6F3"/>
    <a:srgbClr val="1990D4"/>
    <a:srgbClr val="00003F"/>
    <a:srgbClr val="00B3E3"/>
    <a:srgbClr val="000099"/>
    <a:srgbClr val="DFECFD"/>
    <a:srgbClr val="F5FA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50" autoAdjust="0"/>
    <p:restoredTop sz="96201" autoAdjust="0"/>
  </p:normalViewPr>
  <p:slideViewPr>
    <p:cSldViewPr snapToGrid="0">
      <p:cViewPr varScale="1">
        <p:scale>
          <a:sx n="106" d="100"/>
          <a:sy n="106" d="100"/>
        </p:scale>
        <p:origin x="486" y="96"/>
      </p:cViewPr>
      <p:guideLst>
        <p:guide pos="3840"/>
        <p:guide orient="horz" pos="3271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110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C30DC546-A160-40B6-92C2-C2C8C7C6873D}" type="datetimeFigureOut">
              <a:rPr lang="en-US" smtClean="0"/>
              <a:pPr/>
              <a:t>4/6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Tahoma" panose="020B060403050404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Tahoma" panose="020B0604030504040204" pitchFamily="34" charset="0"/>
              </a:defRPr>
            </a:lvl1pPr>
          </a:lstStyle>
          <a:p>
            <a:fld id="{DD1A2537-3EE0-4E98-9EF3-DEFAB0CB95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7188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Tahoma" panose="020B0604030504040204" pitchFamily="34" charset="0"/>
        <a:ea typeface="+mn-ea"/>
        <a:cs typeface="+mn-cs"/>
      </a:defRPr>
    </a:lvl1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D1A2537-3EE0-4E98-9EF3-DEFAB0CB953E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47674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1519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DD1971-E320-456C-8B67-8B88B9AFA2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84665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>
              <a:defRPr sz="3600" b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BE3718D-73D9-4361-9254-1A8D6C5B2A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ED377D-5F9A-42F4-9A90-25B0CAD01B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B87DE87-D0BB-4AB2-935A-2164B63B03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330004" y="6356350"/>
            <a:ext cx="1023796" cy="365125"/>
          </a:xfrm>
        </p:spPr>
        <p:txBody>
          <a:bodyPr/>
          <a:lstStyle/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144686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083614-B309-4FBC-B91E-FE617CD6F9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E716A2D-842B-4196-AEF8-54FBA593F7F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AFF4693-79F5-4AA8-9D0A-F8E292CE2C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586E3-F188-4180-8D43-CF184C61D618}" type="datetimeFigureOut">
              <a:rPr lang="en-US" smtClean="0"/>
              <a:t>4/6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B42E669-5AD1-4712-9719-9C97D81B82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4856B2-33AA-4803-B4CE-B6425175266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D66F9FF-6AF2-484B-8F9F-115FCAB9FAD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532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731" r:id="rId2"/>
  </p:sldLayoutIdLst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3600" kern="1200">
          <a:solidFill>
            <a:schemeClr val="tx2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61AA7-26CA-467F-954D-15F4EEEEEB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lide Title Here</a:t>
            </a:r>
          </a:p>
        </p:txBody>
      </p:sp>
      <p:sp>
        <p:nvSpPr>
          <p:cNvPr id="4" name="Freeform 9">
            <a:extLst>
              <a:ext uri="{FF2B5EF4-FFF2-40B4-BE49-F238E27FC236}">
                <a16:creationId xmlns:a16="http://schemas.microsoft.com/office/drawing/2014/main" id="{B660D413-BF82-43A4-8841-3F06F550C6F9}"/>
              </a:ext>
            </a:extLst>
          </p:cNvPr>
          <p:cNvSpPr>
            <a:spLocks/>
          </p:cNvSpPr>
          <p:nvPr/>
        </p:nvSpPr>
        <p:spPr bwMode="auto">
          <a:xfrm rot="5400000">
            <a:off x="3578272" y="1003296"/>
            <a:ext cx="1978601" cy="3489949"/>
          </a:xfrm>
          <a:custGeom>
            <a:avLst/>
            <a:gdLst>
              <a:gd name="T0" fmla="*/ 1502 w 1502"/>
              <a:gd name="T1" fmla="*/ 1754 h 1754"/>
              <a:gd name="T2" fmla="*/ 1484 w 1502"/>
              <a:gd name="T3" fmla="*/ 1754 h 1754"/>
              <a:gd name="T4" fmla="*/ 1362 w 1502"/>
              <a:gd name="T5" fmla="*/ 1742 h 1754"/>
              <a:gd name="T6" fmla="*/ 1266 w 1502"/>
              <a:gd name="T7" fmla="*/ 1726 h 1754"/>
              <a:gd name="T8" fmla="*/ 1152 w 1502"/>
              <a:gd name="T9" fmla="*/ 1702 h 1754"/>
              <a:gd name="T10" fmla="*/ 1026 w 1502"/>
              <a:gd name="T11" fmla="*/ 1664 h 1754"/>
              <a:gd name="T12" fmla="*/ 892 w 1502"/>
              <a:gd name="T13" fmla="*/ 1612 h 1754"/>
              <a:gd name="T14" fmla="*/ 754 w 1502"/>
              <a:gd name="T15" fmla="*/ 1542 h 1754"/>
              <a:gd name="T16" fmla="*/ 720 w 1502"/>
              <a:gd name="T17" fmla="*/ 1522 h 1754"/>
              <a:gd name="T18" fmla="*/ 656 w 1502"/>
              <a:gd name="T19" fmla="*/ 1476 h 1754"/>
              <a:gd name="T20" fmla="*/ 596 w 1502"/>
              <a:gd name="T21" fmla="*/ 1426 h 1754"/>
              <a:gd name="T22" fmla="*/ 542 w 1502"/>
              <a:gd name="T23" fmla="*/ 1370 h 1754"/>
              <a:gd name="T24" fmla="*/ 492 w 1502"/>
              <a:gd name="T25" fmla="*/ 1310 h 1754"/>
              <a:gd name="T26" fmla="*/ 426 w 1502"/>
              <a:gd name="T27" fmla="*/ 1218 h 1754"/>
              <a:gd name="T28" fmla="*/ 352 w 1502"/>
              <a:gd name="T29" fmla="*/ 1090 h 1754"/>
              <a:gd name="T30" fmla="*/ 292 w 1502"/>
              <a:gd name="T31" fmla="*/ 968 h 1754"/>
              <a:gd name="T32" fmla="*/ 248 w 1502"/>
              <a:gd name="T33" fmla="*/ 856 h 1754"/>
              <a:gd name="T34" fmla="*/ 196 w 1502"/>
              <a:gd name="T35" fmla="*/ 706 h 1754"/>
              <a:gd name="T36" fmla="*/ 148 w 1502"/>
              <a:gd name="T37" fmla="*/ 554 h 1754"/>
              <a:gd name="T38" fmla="*/ 0 w 1502"/>
              <a:gd name="T39" fmla="*/ 64 h 1754"/>
              <a:gd name="T40" fmla="*/ 20 w 1502"/>
              <a:gd name="T41" fmla="*/ 0 h 1754"/>
              <a:gd name="T42" fmla="*/ 64 w 1502"/>
              <a:gd name="T43" fmla="*/ 96 h 1754"/>
              <a:gd name="T44" fmla="*/ 142 w 1502"/>
              <a:gd name="T45" fmla="*/ 238 h 1754"/>
              <a:gd name="T46" fmla="*/ 196 w 1502"/>
              <a:gd name="T47" fmla="*/ 324 h 1754"/>
              <a:gd name="T48" fmla="*/ 262 w 1502"/>
              <a:gd name="T49" fmla="*/ 414 h 1754"/>
              <a:gd name="T50" fmla="*/ 338 w 1502"/>
              <a:gd name="T51" fmla="*/ 508 h 1754"/>
              <a:gd name="T52" fmla="*/ 380 w 1502"/>
              <a:gd name="T53" fmla="*/ 554 h 1754"/>
              <a:gd name="T54" fmla="*/ 476 w 1502"/>
              <a:gd name="T55" fmla="*/ 634 h 1754"/>
              <a:gd name="T56" fmla="*/ 586 w 1502"/>
              <a:gd name="T57" fmla="*/ 702 h 1754"/>
              <a:gd name="T58" fmla="*/ 712 w 1502"/>
              <a:gd name="T59" fmla="*/ 756 h 1754"/>
              <a:gd name="T60" fmla="*/ 854 w 1502"/>
              <a:gd name="T61" fmla="*/ 800 h 1754"/>
              <a:gd name="T62" fmla="*/ 1014 w 1502"/>
              <a:gd name="T63" fmla="*/ 830 h 1754"/>
              <a:gd name="T64" fmla="*/ 1194 w 1502"/>
              <a:gd name="T65" fmla="*/ 850 h 1754"/>
              <a:gd name="T66" fmla="*/ 1394 w 1502"/>
              <a:gd name="T67" fmla="*/ 860 h 1754"/>
              <a:gd name="T68" fmla="*/ 1502 w 1502"/>
              <a:gd name="T69" fmla="*/ 860 h 17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502" h="1754">
                <a:moveTo>
                  <a:pt x="1502" y="860"/>
                </a:moveTo>
                <a:lnTo>
                  <a:pt x="1502" y="1754"/>
                </a:lnTo>
                <a:lnTo>
                  <a:pt x="1502" y="1754"/>
                </a:lnTo>
                <a:lnTo>
                  <a:pt x="1484" y="1754"/>
                </a:lnTo>
                <a:lnTo>
                  <a:pt x="1436" y="1750"/>
                </a:lnTo>
                <a:lnTo>
                  <a:pt x="1362" y="1742"/>
                </a:lnTo>
                <a:lnTo>
                  <a:pt x="1316" y="1736"/>
                </a:lnTo>
                <a:lnTo>
                  <a:pt x="1266" y="1726"/>
                </a:lnTo>
                <a:lnTo>
                  <a:pt x="1210" y="1716"/>
                </a:lnTo>
                <a:lnTo>
                  <a:pt x="1152" y="1702"/>
                </a:lnTo>
                <a:lnTo>
                  <a:pt x="1090" y="1684"/>
                </a:lnTo>
                <a:lnTo>
                  <a:pt x="1026" y="1664"/>
                </a:lnTo>
                <a:lnTo>
                  <a:pt x="958" y="1640"/>
                </a:lnTo>
                <a:lnTo>
                  <a:pt x="892" y="1612"/>
                </a:lnTo>
                <a:lnTo>
                  <a:pt x="822" y="1580"/>
                </a:lnTo>
                <a:lnTo>
                  <a:pt x="754" y="1542"/>
                </a:lnTo>
                <a:lnTo>
                  <a:pt x="754" y="1542"/>
                </a:lnTo>
                <a:lnTo>
                  <a:pt x="720" y="1522"/>
                </a:lnTo>
                <a:lnTo>
                  <a:pt x="688" y="1500"/>
                </a:lnTo>
                <a:lnTo>
                  <a:pt x="656" y="1476"/>
                </a:lnTo>
                <a:lnTo>
                  <a:pt x="626" y="1452"/>
                </a:lnTo>
                <a:lnTo>
                  <a:pt x="596" y="1426"/>
                </a:lnTo>
                <a:lnTo>
                  <a:pt x="570" y="1398"/>
                </a:lnTo>
                <a:lnTo>
                  <a:pt x="542" y="1370"/>
                </a:lnTo>
                <a:lnTo>
                  <a:pt x="518" y="1340"/>
                </a:lnTo>
                <a:lnTo>
                  <a:pt x="492" y="1310"/>
                </a:lnTo>
                <a:lnTo>
                  <a:pt x="470" y="1280"/>
                </a:lnTo>
                <a:lnTo>
                  <a:pt x="426" y="1218"/>
                </a:lnTo>
                <a:lnTo>
                  <a:pt x="386" y="1154"/>
                </a:lnTo>
                <a:lnTo>
                  <a:pt x="352" y="1090"/>
                </a:lnTo>
                <a:lnTo>
                  <a:pt x="320" y="1028"/>
                </a:lnTo>
                <a:lnTo>
                  <a:pt x="292" y="968"/>
                </a:lnTo>
                <a:lnTo>
                  <a:pt x="268" y="910"/>
                </a:lnTo>
                <a:lnTo>
                  <a:pt x="248" y="856"/>
                </a:lnTo>
                <a:lnTo>
                  <a:pt x="216" y="766"/>
                </a:lnTo>
                <a:lnTo>
                  <a:pt x="196" y="706"/>
                </a:lnTo>
                <a:lnTo>
                  <a:pt x="196" y="706"/>
                </a:lnTo>
                <a:lnTo>
                  <a:pt x="148" y="554"/>
                </a:lnTo>
                <a:lnTo>
                  <a:pt x="84" y="340"/>
                </a:lnTo>
                <a:lnTo>
                  <a:pt x="0" y="64"/>
                </a:lnTo>
                <a:lnTo>
                  <a:pt x="20" y="0"/>
                </a:lnTo>
                <a:lnTo>
                  <a:pt x="20" y="0"/>
                </a:lnTo>
                <a:lnTo>
                  <a:pt x="40" y="44"/>
                </a:lnTo>
                <a:lnTo>
                  <a:pt x="64" y="96"/>
                </a:lnTo>
                <a:lnTo>
                  <a:pt x="98" y="160"/>
                </a:lnTo>
                <a:lnTo>
                  <a:pt x="142" y="238"/>
                </a:lnTo>
                <a:lnTo>
                  <a:pt x="168" y="280"/>
                </a:lnTo>
                <a:lnTo>
                  <a:pt x="196" y="324"/>
                </a:lnTo>
                <a:lnTo>
                  <a:pt x="228" y="368"/>
                </a:lnTo>
                <a:lnTo>
                  <a:pt x="262" y="414"/>
                </a:lnTo>
                <a:lnTo>
                  <a:pt x="298" y="462"/>
                </a:lnTo>
                <a:lnTo>
                  <a:pt x="338" y="508"/>
                </a:lnTo>
                <a:lnTo>
                  <a:pt x="338" y="508"/>
                </a:lnTo>
                <a:lnTo>
                  <a:pt x="380" y="554"/>
                </a:lnTo>
                <a:lnTo>
                  <a:pt x="426" y="596"/>
                </a:lnTo>
                <a:lnTo>
                  <a:pt x="476" y="634"/>
                </a:lnTo>
                <a:lnTo>
                  <a:pt x="530" y="670"/>
                </a:lnTo>
                <a:lnTo>
                  <a:pt x="586" y="702"/>
                </a:lnTo>
                <a:lnTo>
                  <a:pt x="646" y="730"/>
                </a:lnTo>
                <a:lnTo>
                  <a:pt x="712" y="756"/>
                </a:lnTo>
                <a:lnTo>
                  <a:pt x="780" y="780"/>
                </a:lnTo>
                <a:lnTo>
                  <a:pt x="854" y="800"/>
                </a:lnTo>
                <a:lnTo>
                  <a:pt x="932" y="816"/>
                </a:lnTo>
                <a:lnTo>
                  <a:pt x="1014" y="830"/>
                </a:lnTo>
                <a:lnTo>
                  <a:pt x="1102" y="842"/>
                </a:lnTo>
                <a:lnTo>
                  <a:pt x="1194" y="850"/>
                </a:lnTo>
                <a:lnTo>
                  <a:pt x="1292" y="856"/>
                </a:lnTo>
                <a:lnTo>
                  <a:pt x="1394" y="860"/>
                </a:lnTo>
                <a:lnTo>
                  <a:pt x="1502" y="860"/>
                </a:lnTo>
                <a:lnTo>
                  <a:pt x="1502" y="860"/>
                </a:lnTo>
                <a:close/>
              </a:path>
            </a:pathLst>
          </a:custGeom>
          <a:gradFill>
            <a:gsLst>
              <a:gs pos="37000">
                <a:schemeClr val="accent1"/>
              </a:gs>
              <a:gs pos="69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5" name="Freeform 10">
            <a:extLst>
              <a:ext uri="{FF2B5EF4-FFF2-40B4-BE49-F238E27FC236}">
                <a16:creationId xmlns:a16="http://schemas.microsoft.com/office/drawing/2014/main" id="{3DE41A39-09B2-4BFB-BD98-0A87DD8B69E0}"/>
              </a:ext>
            </a:extLst>
          </p:cNvPr>
          <p:cNvSpPr>
            <a:spLocks/>
          </p:cNvSpPr>
          <p:nvPr/>
        </p:nvSpPr>
        <p:spPr bwMode="auto">
          <a:xfrm rot="5400000">
            <a:off x="4480844" y="1905869"/>
            <a:ext cx="1952255" cy="1711150"/>
          </a:xfrm>
          <a:custGeom>
            <a:avLst/>
            <a:gdLst>
              <a:gd name="T0" fmla="*/ 0 w 1482"/>
              <a:gd name="T1" fmla="*/ 0 h 860"/>
              <a:gd name="T2" fmla="*/ 1482 w 1482"/>
              <a:gd name="T3" fmla="*/ 0 h 860"/>
              <a:gd name="T4" fmla="*/ 1482 w 1482"/>
              <a:gd name="T5" fmla="*/ 860 h 860"/>
              <a:gd name="T6" fmla="*/ 1482 w 1482"/>
              <a:gd name="T7" fmla="*/ 860 h 860"/>
              <a:gd name="T8" fmla="*/ 1428 w 1482"/>
              <a:gd name="T9" fmla="*/ 860 h 860"/>
              <a:gd name="T10" fmla="*/ 1300 w 1482"/>
              <a:gd name="T11" fmla="*/ 858 h 860"/>
              <a:gd name="T12" fmla="*/ 1222 w 1482"/>
              <a:gd name="T13" fmla="*/ 854 h 860"/>
              <a:gd name="T14" fmla="*/ 1142 w 1482"/>
              <a:gd name="T15" fmla="*/ 848 h 860"/>
              <a:gd name="T16" fmla="*/ 1066 w 1482"/>
              <a:gd name="T17" fmla="*/ 842 h 860"/>
              <a:gd name="T18" fmla="*/ 1030 w 1482"/>
              <a:gd name="T19" fmla="*/ 836 h 860"/>
              <a:gd name="T20" fmla="*/ 998 w 1482"/>
              <a:gd name="T21" fmla="*/ 830 h 860"/>
              <a:gd name="T22" fmla="*/ 998 w 1482"/>
              <a:gd name="T23" fmla="*/ 830 h 860"/>
              <a:gd name="T24" fmla="*/ 964 w 1482"/>
              <a:gd name="T25" fmla="*/ 826 h 860"/>
              <a:gd name="T26" fmla="*/ 924 w 1482"/>
              <a:gd name="T27" fmla="*/ 820 h 860"/>
              <a:gd name="T28" fmla="*/ 876 w 1482"/>
              <a:gd name="T29" fmla="*/ 812 h 860"/>
              <a:gd name="T30" fmla="*/ 822 w 1482"/>
              <a:gd name="T31" fmla="*/ 802 h 860"/>
              <a:gd name="T32" fmla="*/ 764 w 1482"/>
              <a:gd name="T33" fmla="*/ 788 h 860"/>
              <a:gd name="T34" fmla="*/ 702 w 1482"/>
              <a:gd name="T35" fmla="*/ 768 h 860"/>
              <a:gd name="T36" fmla="*/ 670 w 1482"/>
              <a:gd name="T37" fmla="*/ 756 h 860"/>
              <a:gd name="T38" fmla="*/ 636 w 1482"/>
              <a:gd name="T39" fmla="*/ 742 h 860"/>
              <a:gd name="T40" fmla="*/ 602 w 1482"/>
              <a:gd name="T41" fmla="*/ 726 h 860"/>
              <a:gd name="T42" fmla="*/ 566 w 1482"/>
              <a:gd name="T43" fmla="*/ 708 h 860"/>
              <a:gd name="T44" fmla="*/ 532 w 1482"/>
              <a:gd name="T45" fmla="*/ 688 h 860"/>
              <a:gd name="T46" fmla="*/ 496 w 1482"/>
              <a:gd name="T47" fmla="*/ 666 h 860"/>
              <a:gd name="T48" fmla="*/ 460 w 1482"/>
              <a:gd name="T49" fmla="*/ 640 h 860"/>
              <a:gd name="T50" fmla="*/ 424 w 1482"/>
              <a:gd name="T51" fmla="*/ 612 h 860"/>
              <a:gd name="T52" fmla="*/ 386 w 1482"/>
              <a:gd name="T53" fmla="*/ 582 h 860"/>
              <a:gd name="T54" fmla="*/ 350 w 1482"/>
              <a:gd name="T55" fmla="*/ 546 h 860"/>
              <a:gd name="T56" fmla="*/ 314 w 1482"/>
              <a:gd name="T57" fmla="*/ 510 h 860"/>
              <a:gd name="T58" fmla="*/ 278 w 1482"/>
              <a:gd name="T59" fmla="*/ 468 h 860"/>
              <a:gd name="T60" fmla="*/ 242 w 1482"/>
              <a:gd name="T61" fmla="*/ 424 h 860"/>
              <a:gd name="T62" fmla="*/ 206 w 1482"/>
              <a:gd name="T63" fmla="*/ 376 h 860"/>
              <a:gd name="T64" fmla="*/ 170 w 1482"/>
              <a:gd name="T65" fmla="*/ 324 h 860"/>
              <a:gd name="T66" fmla="*/ 134 w 1482"/>
              <a:gd name="T67" fmla="*/ 268 h 860"/>
              <a:gd name="T68" fmla="*/ 100 w 1482"/>
              <a:gd name="T69" fmla="*/ 208 h 860"/>
              <a:gd name="T70" fmla="*/ 66 w 1482"/>
              <a:gd name="T71" fmla="*/ 144 h 860"/>
              <a:gd name="T72" fmla="*/ 32 w 1482"/>
              <a:gd name="T73" fmla="*/ 74 h 860"/>
              <a:gd name="T74" fmla="*/ 0 w 1482"/>
              <a:gd name="T75" fmla="*/ 0 h 860"/>
              <a:gd name="T76" fmla="*/ 0 w 1482"/>
              <a:gd name="T77" fmla="*/ 0 h 8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482" h="860">
                <a:moveTo>
                  <a:pt x="0" y="0"/>
                </a:moveTo>
                <a:lnTo>
                  <a:pt x="1482" y="0"/>
                </a:lnTo>
                <a:lnTo>
                  <a:pt x="1482" y="860"/>
                </a:lnTo>
                <a:lnTo>
                  <a:pt x="1482" y="860"/>
                </a:lnTo>
                <a:lnTo>
                  <a:pt x="1428" y="860"/>
                </a:lnTo>
                <a:lnTo>
                  <a:pt x="1300" y="858"/>
                </a:lnTo>
                <a:lnTo>
                  <a:pt x="1222" y="854"/>
                </a:lnTo>
                <a:lnTo>
                  <a:pt x="1142" y="848"/>
                </a:lnTo>
                <a:lnTo>
                  <a:pt x="1066" y="842"/>
                </a:lnTo>
                <a:lnTo>
                  <a:pt x="1030" y="836"/>
                </a:lnTo>
                <a:lnTo>
                  <a:pt x="998" y="830"/>
                </a:lnTo>
                <a:lnTo>
                  <a:pt x="998" y="830"/>
                </a:lnTo>
                <a:lnTo>
                  <a:pt x="964" y="826"/>
                </a:lnTo>
                <a:lnTo>
                  <a:pt x="924" y="820"/>
                </a:lnTo>
                <a:lnTo>
                  <a:pt x="876" y="812"/>
                </a:lnTo>
                <a:lnTo>
                  <a:pt x="822" y="802"/>
                </a:lnTo>
                <a:lnTo>
                  <a:pt x="764" y="788"/>
                </a:lnTo>
                <a:lnTo>
                  <a:pt x="702" y="768"/>
                </a:lnTo>
                <a:lnTo>
                  <a:pt x="670" y="756"/>
                </a:lnTo>
                <a:lnTo>
                  <a:pt x="636" y="742"/>
                </a:lnTo>
                <a:lnTo>
                  <a:pt x="602" y="726"/>
                </a:lnTo>
                <a:lnTo>
                  <a:pt x="566" y="708"/>
                </a:lnTo>
                <a:lnTo>
                  <a:pt x="532" y="688"/>
                </a:lnTo>
                <a:lnTo>
                  <a:pt x="496" y="666"/>
                </a:lnTo>
                <a:lnTo>
                  <a:pt x="460" y="640"/>
                </a:lnTo>
                <a:lnTo>
                  <a:pt x="424" y="612"/>
                </a:lnTo>
                <a:lnTo>
                  <a:pt x="386" y="582"/>
                </a:lnTo>
                <a:lnTo>
                  <a:pt x="350" y="546"/>
                </a:lnTo>
                <a:lnTo>
                  <a:pt x="314" y="510"/>
                </a:lnTo>
                <a:lnTo>
                  <a:pt x="278" y="468"/>
                </a:lnTo>
                <a:lnTo>
                  <a:pt x="242" y="424"/>
                </a:lnTo>
                <a:lnTo>
                  <a:pt x="206" y="376"/>
                </a:lnTo>
                <a:lnTo>
                  <a:pt x="170" y="324"/>
                </a:lnTo>
                <a:lnTo>
                  <a:pt x="134" y="268"/>
                </a:lnTo>
                <a:lnTo>
                  <a:pt x="100" y="208"/>
                </a:lnTo>
                <a:lnTo>
                  <a:pt x="66" y="144"/>
                </a:lnTo>
                <a:lnTo>
                  <a:pt x="32" y="74"/>
                </a:lnTo>
                <a:lnTo>
                  <a:pt x="0" y="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37000">
                <a:schemeClr val="accent2"/>
              </a:gs>
              <a:gs pos="69000">
                <a:schemeClr val="accent2">
                  <a:lumMod val="75000"/>
                </a:schemeClr>
              </a:gs>
            </a:gsLst>
            <a:lin ang="27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6" name="Freeform 11">
            <a:extLst>
              <a:ext uri="{FF2B5EF4-FFF2-40B4-BE49-F238E27FC236}">
                <a16:creationId xmlns:a16="http://schemas.microsoft.com/office/drawing/2014/main" id="{B4901F49-879B-499D-B6BF-7782B1BAEDD5}"/>
              </a:ext>
            </a:extLst>
          </p:cNvPr>
          <p:cNvSpPr>
            <a:spLocks/>
          </p:cNvSpPr>
          <p:nvPr/>
        </p:nvSpPr>
        <p:spPr bwMode="auto">
          <a:xfrm rot="5400000">
            <a:off x="6096488" y="2001375"/>
            <a:ext cx="1952255" cy="1520137"/>
          </a:xfrm>
          <a:custGeom>
            <a:avLst/>
            <a:gdLst>
              <a:gd name="T0" fmla="*/ 1482 w 1482"/>
              <a:gd name="T1" fmla="*/ 0 h 764"/>
              <a:gd name="T2" fmla="*/ 1482 w 1482"/>
              <a:gd name="T3" fmla="*/ 764 h 764"/>
              <a:gd name="T4" fmla="*/ 0 w 1482"/>
              <a:gd name="T5" fmla="*/ 764 h 764"/>
              <a:gd name="T6" fmla="*/ 18 w 1482"/>
              <a:gd name="T7" fmla="*/ 714 h 764"/>
              <a:gd name="T8" fmla="*/ 18 w 1482"/>
              <a:gd name="T9" fmla="*/ 714 h 764"/>
              <a:gd name="T10" fmla="*/ 56 w 1482"/>
              <a:gd name="T11" fmla="*/ 656 h 764"/>
              <a:gd name="T12" fmla="*/ 100 w 1482"/>
              <a:gd name="T13" fmla="*/ 596 h 764"/>
              <a:gd name="T14" fmla="*/ 156 w 1482"/>
              <a:gd name="T15" fmla="*/ 522 h 764"/>
              <a:gd name="T16" fmla="*/ 222 w 1482"/>
              <a:gd name="T17" fmla="*/ 442 h 764"/>
              <a:gd name="T18" fmla="*/ 256 w 1482"/>
              <a:gd name="T19" fmla="*/ 402 h 764"/>
              <a:gd name="T20" fmla="*/ 292 w 1482"/>
              <a:gd name="T21" fmla="*/ 364 h 764"/>
              <a:gd name="T22" fmla="*/ 328 w 1482"/>
              <a:gd name="T23" fmla="*/ 326 h 764"/>
              <a:gd name="T24" fmla="*/ 364 w 1482"/>
              <a:gd name="T25" fmla="*/ 292 h 764"/>
              <a:gd name="T26" fmla="*/ 400 w 1482"/>
              <a:gd name="T27" fmla="*/ 262 h 764"/>
              <a:gd name="T28" fmla="*/ 434 w 1482"/>
              <a:gd name="T29" fmla="*/ 236 h 764"/>
              <a:gd name="T30" fmla="*/ 434 w 1482"/>
              <a:gd name="T31" fmla="*/ 236 h 764"/>
              <a:gd name="T32" fmla="*/ 470 w 1482"/>
              <a:gd name="T33" fmla="*/ 212 h 764"/>
              <a:gd name="T34" fmla="*/ 506 w 1482"/>
              <a:gd name="T35" fmla="*/ 190 h 764"/>
              <a:gd name="T36" fmla="*/ 544 w 1482"/>
              <a:gd name="T37" fmla="*/ 170 h 764"/>
              <a:gd name="T38" fmla="*/ 584 w 1482"/>
              <a:gd name="T39" fmla="*/ 150 h 764"/>
              <a:gd name="T40" fmla="*/ 626 w 1482"/>
              <a:gd name="T41" fmla="*/ 130 h 764"/>
              <a:gd name="T42" fmla="*/ 674 w 1482"/>
              <a:gd name="T43" fmla="*/ 112 h 764"/>
              <a:gd name="T44" fmla="*/ 724 w 1482"/>
              <a:gd name="T45" fmla="*/ 96 h 764"/>
              <a:gd name="T46" fmla="*/ 780 w 1482"/>
              <a:gd name="T47" fmla="*/ 80 h 764"/>
              <a:gd name="T48" fmla="*/ 842 w 1482"/>
              <a:gd name="T49" fmla="*/ 66 h 764"/>
              <a:gd name="T50" fmla="*/ 910 w 1482"/>
              <a:gd name="T51" fmla="*/ 52 h 764"/>
              <a:gd name="T52" fmla="*/ 984 w 1482"/>
              <a:gd name="T53" fmla="*/ 40 h 764"/>
              <a:gd name="T54" fmla="*/ 1066 w 1482"/>
              <a:gd name="T55" fmla="*/ 30 h 764"/>
              <a:gd name="T56" fmla="*/ 1156 w 1482"/>
              <a:gd name="T57" fmla="*/ 20 h 764"/>
              <a:gd name="T58" fmla="*/ 1256 w 1482"/>
              <a:gd name="T59" fmla="*/ 12 h 764"/>
              <a:gd name="T60" fmla="*/ 1364 w 1482"/>
              <a:gd name="T61" fmla="*/ 6 h 764"/>
              <a:gd name="T62" fmla="*/ 1482 w 1482"/>
              <a:gd name="T63" fmla="*/ 0 h 764"/>
              <a:gd name="T64" fmla="*/ 1482 w 1482"/>
              <a:gd name="T65" fmla="*/ 0 h 7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82" h="764">
                <a:moveTo>
                  <a:pt x="1482" y="0"/>
                </a:moveTo>
                <a:lnTo>
                  <a:pt x="1482" y="764"/>
                </a:lnTo>
                <a:lnTo>
                  <a:pt x="0" y="764"/>
                </a:lnTo>
                <a:lnTo>
                  <a:pt x="18" y="714"/>
                </a:lnTo>
                <a:lnTo>
                  <a:pt x="18" y="714"/>
                </a:lnTo>
                <a:lnTo>
                  <a:pt x="56" y="656"/>
                </a:lnTo>
                <a:lnTo>
                  <a:pt x="100" y="596"/>
                </a:lnTo>
                <a:lnTo>
                  <a:pt x="156" y="522"/>
                </a:lnTo>
                <a:lnTo>
                  <a:pt x="222" y="442"/>
                </a:lnTo>
                <a:lnTo>
                  <a:pt x="256" y="402"/>
                </a:lnTo>
                <a:lnTo>
                  <a:pt x="292" y="364"/>
                </a:lnTo>
                <a:lnTo>
                  <a:pt x="328" y="326"/>
                </a:lnTo>
                <a:lnTo>
                  <a:pt x="364" y="292"/>
                </a:lnTo>
                <a:lnTo>
                  <a:pt x="400" y="262"/>
                </a:lnTo>
                <a:lnTo>
                  <a:pt x="434" y="236"/>
                </a:lnTo>
                <a:lnTo>
                  <a:pt x="434" y="236"/>
                </a:lnTo>
                <a:lnTo>
                  <a:pt x="470" y="212"/>
                </a:lnTo>
                <a:lnTo>
                  <a:pt x="506" y="190"/>
                </a:lnTo>
                <a:lnTo>
                  <a:pt x="544" y="170"/>
                </a:lnTo>
                <a:lnTo>
                  <a:pt x="584" y="150"/>
                </a:lnTo>
                <a:lnTo>
                  <a:pt x="626" y="130"/>
                </a:lnTo>
                <a:lnTo>
                  <a:pt x="674" y="112"/>
                </a:lnTo>
                <a:lnTo>
                  <a:pt x="724" y="96"/>
                </a:lnTo>
                <a:lnTo>
                  <a:pt x="780" y="80"/>
                </a:lnTo>
                <a:lnTo>
                  <a:pt x="842" y="66"/>
                </a:lnTo>
                <a:lnTo>
                  <a:pt x="910" y="52"/>
                </a:lnTo>
                <a:lnTo>
                  <a:pt x="984" y="40"/>
                </a:lnTo>
                <a:lnTo>
                  <a:pt x="1066" y="30"/>
                </a:lnTo>
                <a:lnTo>
                  <a:pt x="1156" y="20"/>
                </a:lnTo>
                <a:lnTo>
                  <a:pt x="1256" y="12"/>
                </a:lnTo>
                <a:lnTo>
                  <a:pt x="1364" y="6"/>
                </a:lnTo>
                <a:lnTo>
                  <a:pt x="1482" y="0"/>
                </a:lnTo>
                <a:lnTo>
                  <a:pt x="1482" y="0"/>
                </a:lnTo>
                <a:close/>
              </a:path>
            </a:pathLst>
          </a:custGeom>
          <a:gradFill>
            <a:gsLst>
              <a:gs pos="37000">
                <a:schemeClr val="accent3"/>
              </a:gs>
              <a:gs pos="69000">
                <a:schemeClr val="accent3">
                  <a:lumMod val="75000"/>
                </a:schemeClr>
              </a:gs>
            </a:gsLst>
            <a:lin ang="27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7" name="Freeform 12">
            <a:extLst>
              <a:ext uri="{FF2B5EF4-FFF2-40B4-BE49-F238E27FC236}">
                <a16:creationId xmlns:a16="http://schemas.microsoft.com/office/drawing/2014/main" id="{827C443C-E81F-4AD4-88DA-3F3564E446C3}"/>
              </a:ext>
            </a:extLst>
          </p:cNvPr>
          <p:cNvSpPr>
            <a:spLocks/>
          </p:cNvSpPr>
          <p:nvPr/>
        </p:nvSpPr>
        <p:spPr bwMode="auto">
          <a:xfrm rot="5400000">
            <a:off x="6926114" y="1294946"/>
            <a:ext cx="1928543" cy="2956707"/>
          </a:xfrm>
          <a:custGeom>
            <a:avLst/>
            <a:gdLst>
              <a:gd name="T0" fmla="*/ 1464 w 1464"/>
              <a:gd name="T1" fmla="*/ 0 h 1486"/>
              <a:gd name="T2" fmla="*/ 1464 w 1464"/>
              <a:gd name="T3" fmla="*/ 772 h 1486"/>
              <a:gd name="T4" fmla="*/ 1464 w 1464"/>
              <a:gd name="T5" fmla="*/ 772 h 1486"/>
              <a:gd name="T6" fmla="*/ 1398 w 1464"/>
              <a:gd name="T7" fmla="*/ 774 h 1486"/>
              <a:gd name="T8" fmla="*/ 1324 w 1464"/>
              <a:gd name="T9" fmla="*/ 776 h 1486"/>
              <a:gd name="T10" fmla="*/ 1230 w 1464"/>
              <a:gd name="T11" fmla="*/ 784 h 1486"/>
              <a:gd name="T12" fmla="*/ 1120 w 1464"/>
              <a:gd name="T13" fmla="*/ 794 h 1486"/>
              <a:gd name="T14" fmla="*/ 1000 w 1464"/>
              <a:gd name="T15" fmla="*/ 808 h 1486"/>
              <a:gd name="T16" fmla="*/ 938 w 1464"/>
              <a:gd name="T17" fmla="*/ 818 h 1486"/>
              <a:gd name="T18" fmla="*/ 874 w 1464"/>
              <a:gd name="T19" fmla="*/ 828 h 1486"/>
              <a:gd name="T20" fmla="*/ 812 w 1464"/>
              <a:gd name="T21" fmla="*/ 842 h 1486"/>
              <a:gd name="T22" fmla="*/ 750 w 1464"/>
              <a:gd name="T23" fmla="*/ 856 h 1486"/>
              <a:gd name="T24" fmla="*/ 750 w 1464"/>
              <a:gd name="T25" fmla="*/ 856 h 1486"/>
              <a:gd name="T26" fmla="*/ 690 w 1464"/>
              <a:gd name="T27" fmla="*/ 872 h 1486"/>
              <a:gd name="T28" fmla="*/ 634 w 1464"/>
              <a:gd name="T29" fmla="*/ 892 h 1486"/>
              <a:gd name="T30" fmla="*/ 582 w 1464"/>
              <a:gd name="T31" fmla="*/ 914 h 1486"/>
              <a:gd name="T32" fmla="*/ 532 w 1464"/>
              <a:gd name="T33" fmla="*/ 940 h 1486"/>
              <a:gd name="T34" fmla="*/ 484 w 1464"/>
              <a:gd name="T35" fmla="*/ 968 h 1486"/>
              <a:gd name="T36" fmla="*/ 440 w 1464"/>
              <a:gd name="T37" fmla="*/ 1000 h 1486"/>
              <a:gd name="T38" fmla="*/ 396 w 1464"/>
              <a:gd name="T39" fmla="*/ 1034 h 1486"/>
              <a:gd name="T40" fmla="*/ 352 w 1464"/>
              <a:gd name="T41" fmla="*/ 1072 h 1486"/>
              <a:gd name="T42" fmla="*/ 310 w 1464"/>
              <a:gd name="T43" fmla="*/ 1112 h 1486"/>
              <a:gd name="T44" fmla="*/ 268 w 1464"/>
              <a:gd name="T45" fmla="*/ 1156 h 1486"/>
              <a:gd name="T46" fmla="*/ 226 w 1464"/>
              <a:gd name="T47" fmla="*/ 1204 h 1486"/>
              <a:gd name="T48" fmla="*/ 184 w 1464"/>
              <a:gd name="T49" fmla="*/ 1254 h 1486"/>
              <a:gd name="T50" fmla="*/ 96 w 1464"/>
              <a:gd name="T51" fmla="*/ 1362 h 1486"/>
              <a:gd name="T52" fmla="*/ 0 w 1464"/>
              <a:gd name="T53" fmla="*/ 1486 h 1486"/>
              <a:gd name="T54" fmla="*/ 0 w 1464"/>
              <a:gd name="T55" fmla="*/ 1486 h 1486"/>
              <a:gd name="T56" fmla="*/ 88 w 1464"/>
              <a:gd name="T57" fmla="*/ 1186 h 1486"/>
              <a:gd name="T58" fmla="*/ 162 w 1464"/>
              <a:gd name="T59" fmla="*/ 938 h 1486"/>
              <a:gd name="T60" fmla="*/ 196 w 1464"/>
              <a:gd name="T61" fmla="*/ 830 h 1486"/>
              <a:gd name="T62" fmla="*/ 226 w 1464"/>
              <a:gd name="T63" fmla="*/ 742 h 1486"/>
              <a:gd name="T64" fmla="*/ 226 w 1464"/>
              <a:gd name="T65" fmla="*/ 742 h 1486"/>
              <a:gd name="T66" fmla="*/ 252 w 1464"/>
              <a:gd name="T67" fmla="*/ 670 h 1486"/>
              <a:gd name="T68" fmla="*/ 284 w 1464"/>
              <a:gd name="T69" fmla="*/ 596 h 1486"/>
              <a:gd name="T70" fmla="*/ 302 w 1464"/>
              <a:gd name="T71" fmla="*/ 560 h 1486"/>
              <a:gd name="T72" fmla="*/ 320 w 1464"/>
              <a:gd name="T73" fmla="*/ 524 h 1486"/>
              <a:gd name="T74" fmla="*/ 342 w 1464"/>
              <a:gd name="T75" fmla="*/ 488 h 1486"/>
              <a:gd name="T76" fmla="*/ 364 w 1464"/>
              <a:gd name="T77" fmla="*/ 452 h 1486"/>
              <a:gd name="T78" fmla="*/ 388 w 1464"/>
              <a:gd name="T79" fmla="*/ 418 h 1486"/>
              <a:gd name="T80" fmla="*/ 414 w 1464"/>
              <a:gd name="T81" fmla="*/ 384 h 1486"/>
              <a:gd name="T82" fmla="*/ 442 w 1464"/>
              <a:gd name="T83" fmla="*/ 354 h 1486"/>
              <a:gd name="T84" fmla="*/ 470 w 1464"/>
              <a:gd name="T85" fmla="*/ 322 h 1486"/>
              <a:gd name="T86" fmla="*/ 502 w 1464"/>
              <a:gd name="T87" fmla="*/ 294 h 1486"/>
              <a:gd name="T88" fmla="*/ 536 w 1464"/>
              <a:gd name="T89" fmla="*/ 268 h 1486"/>
              <a:gd name="T90" fmla="*/ 572 w 1464"/>
              <a:gd name="T91" fmla="*/ 242 h 1486"/>
              <a:gd name="T92" fmla="*/ 612 w 1464"/>
              <a:gd name="T93" fmla="*/ 220 h 1486"/>
              <a:gd name="T94" fmla="*/ 612 w 1464"/>
              <a:gd name="T95" fmla="*/ 220 h 1486"/>
              <a:gd name="T96" fmla="*/ 652 w 1464"/>
              <a:gd name="T97" fmla="*/ 200 h 1486"/>
              <a:gd name="T98" fmla="*/ 698 w 1464"/>
              <a:gd name="T99" fmla="*/ 180 h 1486"/>
              <a:gd name="T100" fmla="*/ 746 w 1464"/>
              <a:gd name="T101" fmla="*/ 160 h 1486"/>
              <a:gd name="T102" fmla="*/ 796 w 1464"/>
              <a:gd name="T103" fmla="*/ 142 h 1486"/>
              <a:gd name="T104" fmla="*/ 850 w 1464"/>
              <a:gd name="T105" fmla="*/ 126 h 1486"/>
              <a:gd name="T106" fmla="*/ 904 w 1464"/>
              <a:gd name="T107" fmla="*/ 108 h 1486"/>
              <a:gd name="T108" fmla="*/ 960 w 1464"/>
              <a:gd name="T109" fmla="*/ 92 h 1486"/>
              <a:gd name="T110" fmla="*/ 1018 w 1464"/>
              <a:gd name="T111" fmla="*/ 78 h 1486"/>
              <a:gd name="T112" fmla="*/ 1134 w 1464"/>
              <a:gd name="T113" fmla="*/ 52 h 1486"/>
              <a:gd name="T114" fmla="*/ 1248 w 1464"/>
              <a:gd name="T115" fmla="*/ 30 h 1486"/>
              <a:gd name="T116" fmla="*/ 1360 w 1464"/>
              <a:gd name="T117" fmla="*/ 12 h 1486"/>
              <a:gd name="T118" fmla="*/ 1464 w 1464"/>
              <a:gd name="T119" fmla="*/ 0 h 1486"/>
              <a:gd name="T120" fmla="*/ 1464 w 1464"/>
              <a:gd name="T121" fmla="*/ 0 h 14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4" h="1486">
                <a:moveTo>
                  <a:pt x="1464" y="0"/>
                </a:moveTo>
                <a:lnTo>
                  <a:pt x="1464" y="772"/>
                </a:lnTo>
                <a:lnTo>
                  <a:pt x="1464" y="772"/>
                </a:lnTo>
                <a:lnTo>
                  <a:pt x="1398" y="774"/>
                </a:lnTo>
                <a:lnTo>
                  <a:pt x="1324" y="776"/>
                </a:lnTo>
                <a:lnTo>
                  <a:pt x="1230" y="784"/>
                </a:lnTo>
                <a:lnTo>
                  <a:pt x="1120" y="794"/>
                </a:lnTo>
                <a:lnTo>
                  <a:pt x="1000" y="808"/>
                </a:lnTo>
                <a:lnTo>
                  <a:pt x="938" y="818"/>
                </a:lnTo>
                <a:lnTo>
                  <a:pt x="874" y="828"/>
                </a:lnTo>
                <a:lnTo>
                  <a:pt x="812" y="842"/>
                </a:lnTo>
                <a:lnTo>
                  <a:pt x="750" y="856"/>
                </a:lnTo>
                <a:lnTo>
                  <a:pt x="750" y="856"/>
                </a:lnTo>
                <a:lnTo>
                  <a:pt x="690" y="872"/>
                </a:lnTo>
                <a:lnTo>
                  <a:pt x="634" y="892"/>
                </a:lnTo>
                <a:lnTo>
                  <a:pt x="582" y="914"/>
                </a:lnTo>
                <a:lnTo>
                  <a:pt x="532" y="940"/>
                </a:lnTo>
                <a:lnTo>
                  <a:pt x="484" y="968"/>
                </a:lnTo>
                <a:lnTo>
                  <a:pt x="440" y="1000"/>
                </a:lnTo>
                <a:lnTo>
                  <a:pt x="396" y="1034"/>
                </a:lnTo>
                <a:lnTo>
                  <a:pt x="352" y="1072"/>
                </a:lnTo>
                <a:lnTo>
                  <a:pt x="310" y="1112"/>
                </a:lnTo>
                <a:lnTo>
                  <a:pt x="268" y="1156"/>
                </a:lnTo>
                <a:lnTo>
                  <a:pt x="226" y="1204"/>
                </a:lnTo>
                <a:lnTo>
                  <a:pt x="184" y="1254"/>
                </a:lnTo>
                <a:lnTo>
                  <a:pt x="96" y="1362"/>
                </a:lnTo>
                <a:lnTo>
                  <a:pt x="0" y="1486"/>
                </a:lnTo>
                <a:lnTo>
                  <a:pt x="0" y="1486"/>
                </a:lnTo>
                <a:lnTo>
                  <a:pt x="88" y="1186"/>
                </a:lnTo>
                <a:lnTo>
                  <a:pt x="162" y="938"/>
                </a:lnTo>
                <a:lnTo>
                  <a:pt x="196" y="830"/>
                </a:lnTo>
                <a:lnTo>
                  <a:pt x="226" y="742"/>
                </a:lnTo>
                <a:lnTo>
                  <a:pt x="226" y="742"/>
                </a:lnTo>
                <a:lnTo>
                  <a:pt x="252" y="670"/>
                </a:lnTo>
                <a:lnTo>
                  <a:pt x="284" y="596"/>
                </a:lnTo>
                <a:lnTo>
                  <a:pt x="302" y="560"/>
                </a:lnTo>
                <a:lnTo>
                  <a:pt x="320" y="524"/>
                </a:lnTo>
                <a:lnTo>
                  <a:pt x="342" y="488"/>
                </a:lnTo>
                <a:lnTo>
                  <a:pt x="364" y="452"/>
                </a:lnTo>
                <a:lnTo>
                  <a:pt x="388" y="418"/>
                </a:lnTo>
                <a:lnTo>
                  <a:pt x="414" y="384"/>
                </a:lnTo>
                <a:lnTo>
                  <a:pt x="442" y="354"/>
                </a:lnTo>
                <a:lnTo>
                  <a:pt x="470" y="322"/>
                </a:lnTo>
                <a:lnTo>
                  <a:pt x="502" y="294"/>
                </a:lnTo>
                <a:lnTo>
                  <a:pt x="536" y="268"/>
                </a:lnTo>
                <a:lnTo>
                  <a:pt x="572" y="242"/>
                </a:lnTo>
                <a:lnTo>
                  <a:pt x="612" y="220"/>
                </a:lnTo>
                <a:lnTo>
                  <a:pt x="612" y="220"/>
                </a:lnTo>
                <a:lnTo>
                  <a:pt x="652" y="200"/>
                </a:lnTo>
                <a:lnTo>
                  <a:pt x="698" y="180"/>
                </a:lnTo>
                <a:lnTo>
                  <a:pt x="746" y="160"/>
                </a:lnTo>
                <a:lnTo>
                  <a:pt x="796" y="142"/>
                </a:lnTo>
                <a:lnTo>
                  <a:pt x="850" y="126"/>
                </a:lnTo>
                <a:lnTo>
                  <a:pt x="904" y="108"/>
                </a:lnTo>
                <a:lnTo>
                  <a:pt x="960" y="92"/>
                </a:lnTo>
                <a:lnTo>
                  <a:pt x="1018" y="78"/>
                </a:lnTo>
                <a:lnTo>
                  <a:pt x="1134" y="52"/>
                </a:lnTo>
                <a:lnTo>
                  <a:pt x="1248" y="30"/>
                </a:lnTo>
                <a:lnTo>
                  <a:pt x="1360" y="12"/>
                </a:lnTo>
                <a:lnTo>
                  <a:pt x="1464" y="0"/>
                </a:lnTo>
                <a:lnTo>
                  <a:pt x="1464" y="0"/>
                </a:lnTo>
                <a:close/>
              </a:path>
            </a:pathLst>
          </a:custGeom>
          <a:gradFill>
            <a:gsLst>
              <a:gs pos="37000">
                <a:schemeClr val="accent4"/>
              </a:gs>
              <a:gs pos="69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8" name="Pentagon 17">
            <a:extLst>
              <a:ext uri="{FF2B5EF4-FFF2-40B4-BE49-F238E27FC236}">
                <a16:creationId xmlns:a16="http://schemas.microsoft.com/office/drawing/2014/main" id="{CE4372CD-113F-4580-86A1-2B8B9F88BC20}"/>
              </a:ext>
            </a:extLst>
          </p:cNvPr>
          <p:cNvSpPr/>
          <p:nvPr/>
        </p:nvSpPr>
        <p:spPr>
          <a:xfrm rot="5400000">
            <a:off x="8326049" y="3284372"/>
            <a:ext cx="548000" cy="1538709"/>
          </a:xfrm>
          <a:prstGeom prst="homePlate">
            <a:avLst>
              <a:gd name="adj" fmla="val 53846"/>
            </a:avLst>
          </a:prstGeom>
          <a:gradFill>
            <a:gsLst>
              <a:gs pos="0">
                <a:schemeClr val="accent4"/>
              </a:gs>
              <a:gs pos="100000">
                <a:schemeClr val="accent4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9" name="Pentagon 18">
            <a:extLst>
              <a:ext uri="{FF2B5EF4-FFF2-40B4-BE49-F238E27FC236}">
                <a16:creationId xmlns:a16="http://schemas.microsoft.com/office/drawing/2014/main" id="{38915FFA-AA64-4D0B-BB12-159BDB14CC7F}"/>
              </a:ext>
            </a:extLst>
          </p:cNvPr>
          <p:cNvSpPr/>
          <p:nvPr/>
        </p:nvSpPr>
        <p:spPr>
          <a:xfrm rot="5400000">
            <a:off x="6796625" y="3293658"/>
            <a:ext cx="548000" cy="1520137"/>
          </a:xfrm>
          <a:prstGeom prst="homePlate">
            <a:avLst>
              <a:gd name="adj" fmla="val 53846"/>
            </a:avLst>
          </a:prstGeom>
          <a:gradFill>
            <a:gsLst>
              <a:gs pos="0">
                <a:schemeClr val="accent3"/>
              </a:gs>
              <a:gs pos="100000">
                <a:schemeClr val="accent3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0" name="Pentagon 19">
            <a:extLst>
              <a:ext uri="{FF2B5EF4-FFF2-40B4-BE49-F238E27FC236}">
                <a16:creationId xmlns:a16="http://schemas.microsoft.com/office/drawing/2014/main" id="{99908E66-9E8A-467C-9D9C-8E991FE19BF7}"/>
              </a:ext>
            </a:extLst>
          </p:cNvPr>
          <p:cNvSpPr/>
          <p:nvPr/>
        </p:nvSpPr>
        <p:spPr>
          <a:xfrm rot="5400000">
            <a:off x="5182309" y="3196826"/>
            <a:ext cx="548000" cy="1713802"/>
          </a:xfrm>
          <a:prstGeom prst="homePlate">
            <a:avLst>
              <a:gd name="adj" fmla="val 53846"/>
            </a:avLst>
          </a:prstGeom>
          <a:gradFill>
            <a:gsLst>
              <a:gs pos="0">
                <a:schemeClr val="accent2"/>
              </a:gs>
              <a:gs pos="100000">
                <a:schemeClr val="accent2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1" name="Pentagon 20">
            <a:extLst>
              <a:ext uri="{FF2B5EF4-FFF2-40B4-BE49-F238E27FC236}">
                <a16:creationId xmlns:a16="http://schemas.microsoft.com/office/drawing/2014/main" id="{7E99058D-E058-466D-AAE6-A330AFC0783D}"/>
              </a:ext>
            </a:extLst>
          </p:cNvPr>
          <p:cNvSpPr/>
          <p:nvPr/>
        </p:nvSpPr>
        <p:spPr>
          <a:xfrm rot="5400000">
            <a:off x="3441977" y="3164990"/>
            <a:ext cx="548000" cy="1777472"/>
          </a:xfrm>
          <a:prstGeom prst="homePlate">
            <a:avLst>
              <a:gd name="adj" fmla="val 53846"/>
            </a:avLst>
          </a:prstGeom>
          <a:gradFill>
            <a:gsLst>
              <a:gs pos="0">
                <a:schemeClr val="accent1"/>
              </a:gs>
              <a:gs pos="100000">
                <a:schemeClr val="accent1">
                  <a:lumMod val="75000"/>
                </a:schemeClr>
              </a:gs>
            </a:gsLst>
            <a:lin ang="2700000" scaled="1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+mj-lt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D380E12-1643-4D23-A915-09EDCBD85F4B}"/>
              </a:ext>
            </a:extLst>
          </p:cNvPr>
          <p:cNvSpPr/>
          <p:nvPr/>
        </p:nvSpPr>
        <p:spPr>
          <a:xfrm>
            <a:off x="3181991" y="2810029"/>
            <a:ext cx="1238795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cs typeface="Lato Heavy" panose="020F0902020204030203" pitchFamily="34" charset="0"/>
              </a:rPr>
              <a:t>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12D45B2-94FB-4075-931D-679FD9722C7E}"/>
              </a:ext>
            </a:extLst>
          </p:cNvPr>
          <p:cNvSpPr/>
          <p:nvPr/>
        </p:nvSpPr>
        <p:spPr>
          <a:xfrm>
            <a:off x="4869782" y="2810028"/>
            <a:ext cx="1238795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cs typeface="Lato Heavy" panose="020F0902020204030203" pitchFamily="34" charset="0"/>
              </a:rPr>
              <a:t>W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01FFB96E-57A4-44A9-B2ED-34B5A45CAE69}"/>
              </a:ext>
            </a:extLst>
          </p:cNvPr>
          <p:cNvSpPr/>
          <p:nvPr/>
        </p:nvSpPr>
        <p:spPr>
          <a:xfrm>
            <a:off x="6410419" y="2810028"/>
            <a:ext cx="1238795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cs typeface="Lato Heavy" panose="020F0902020204030203" pitchFamily="34" charset="0"/>
              </a:rPr>
              <a:t>O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628E89B-7925-4A71-9D85-441C715C91F3}"/>
              </a:ext>
            </a:extLst>
          </p:cNvPr>
          <p:cNvSpPr/>
          <p:nvPr/>
        </p:nvSpPr>
        <p:spPr>
          <a:xfrm>
            <a:off x="7878914" y="2810028"/>
            <a:ext cx="1238795" cy="9233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+mj-lt"/>
                <a:cs typeface="Lato Heavy" panose="020F0902020204030203" pitchFamily="34" charset="0"/>
              </a:rPr>
              <a:t>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C615081-586A-497D-8C16-8E233E41ED6A}"/>
              </a:ext>
            </a:extLst>
          </p:cNvPr>
          <p:cNvSpPr/>
          <p:nvPr/>
        </p:nvSpPr>
        <p:spPr>
          <a:xfrm>
            <a:off x="8816824" y="5203869"/>
            <a:ext cx="21701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2EF1909-966B-4934-B751-8E8DE72167BD}"/>
              </a:ext>
            </a:extLst>
          </p:cNvPr>
          <p:cNvSpPr/>
          <p:nvPr/>
        </p:nvSpPr>
        <p:spPr>
          <a:xfrm>
            <a:off x="6281187" y="5203870"/>
            <a:ext cx="21701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3224EE8-3996-4182-91EC-54D72D34BF85}"/>
              </a:ext>
            </a:extLst>
          </p:cNvPr>
          <p:cNvSpPr/>
          <p:nvPr/>
        </p:nvSpPr>
        <p:spPr>
          <a:xfrm>
            <a:off x="3736552" y="5203870"/>
            <a:ext cx="21701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8B05567-2484-432F-B3F4-64537E889AA7}"/>
              </a:ext>
            </a:extLst>
          </p:cNvPr>
          <p:cNvSpPr/>
          <p:nvPr/>
        </p:nvSpPr>
        <p:spPr>
          <a:xfrm>
            <a:off x="1200915" y="5203871"/>
            <a:ext cx="217016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id-ID" sz="1200" dirty="0">
                <a:solidFill>
                  <a:schemeClr val="tx2">
                    <a:lumMod val="60000"/>
                    <a:lumOff val="40000"/>
                  </a:schemeClr>
                </a:solidFill>
                <a:cs typeface="Segoe UI Light" panose="020B0502040204020203" pitchFamily="34" charset="0"/>
              </a:rPr>
              <a:t>Lorem ipsum dolor sit amet, consectetur adipiscing ed id risus quis ex congue</a:t>
            </a:r>
          </a:p>
        </p:txBody>
      </p:sp>
      <p:sp>
        <p:nvSpPr>
          <p:cNvPr id="20" name="Title 2">
            <a:extLst>
              <a:ext uri="{FF2B5EF4-FFF2-40B4-BE49-F238E27FC236}">
                <a16:creationId xmlns:a16="http://schemas.microsoft.com/office/drawing/2014/main" id="{91627A8A-776C-4B1D-9002-7478D5E636B9}"/>
              </a:ext>
            </a:extLst>
          </p:cNvPr>
          <p:cNvSpPr txBox="1">
            <a:spLocks/>
          </p:cNvSpPr>
          <p:nvPr/>
        </p:nvSpPr>
        <p:spPr>
          <a:xfrm>
            <a:off x="791940" y="4573155"/>
            <a:ext cx="2988117" cy="66051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>
                <a:solidFill>
                  <a:schemeClr val="tx2"/>
                </a:solidFill>
              </a:rPr>
              <a:t>Strengths</a:t>
            </a:r>
          </a:p>
        </p:txBody>
      </p:sp>
      <p:sp>
        <p:nvSpPr>
          <p:cNvPr id="21" name="Title 2">
            <a:extLst>
              <a:ext uri="{FF2B5EF4-FFF2-40B4-BE49-F238E27FC236}">
                <a16:creationId xmlns:a16="http://schemas.microsoft.com/office/drawing/2014/main" id="{BFF7BF12-9477-4DC9-8BFB-C874A0338F48}"/>
              </a:ext>
            </a:extLst>
          </p:cNvPr>
          <p:cNvSpPr txBox="1">
            <a:spLocks/>
          </p:cNvSpPr>
          <p:nvPr/>
        </p:nvSpPr>
        <p:spPr>
          <a:xfrm>
            <a:off x="3327577" y="4573155"/>
            <a:ext cx="2988117" cy="66051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>
                <a:solidFill>
                  <a:schemeClr val="tx2"/>
                </a:solidFill>
              </a:rPr>
              <a:t>Weaknesses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71D67FA9-6556-42B6-BDC0-A33E982AE8D7}"/>
              </a:ext>
            </a:extLst>
          </p:cNvPr>
          <p:cNvSpPr txBox="1">
            <a:spLocks/>
          </p:cNvSpPr>
          <p:nvPr/>
        </p:nvSpPr>
        <p:spPr>
          <a:xfrm>
            <a:off x="5828707" y="4573155"/>
            <a:ext cx="2988117" cy="66051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>
                <a:solidFill>
                  <a:schemeClr val="tx2"/>
                </a:solidFill>
              </a:rPr>
              <a:t>Opportunities</a:t>
            </a: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75656CD3-7C57-41F6-8479-2F215DD935FB}"/>
              </a:ext>
            </a:extLst>
          </p:cNvPr>
          <p:cNvSpPr txBox="1">
            <a:spLocks/>
          </p:cNvSpPr>
          <p:nvPr/>
        </p:nvSpPr>
        <p:spPr>
          <a:xfrm>
            <a:off x="8364344" y="4573155"/>
            <a:ext cx="2988117" cy="660511"/>
          </a:xfrm>
          <a:prstGeom prst="rect">
            <a:avLst/>
          </a:prstGeom>
        </p:spPr>
        <p:txBody>
          <a:bodyPr anchor="ctr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800" dirty="0">
                <a:solidFill>
                  <a:schemeClr val="tx2"/>
                </a:solidFill>
              </a:rPr>
              <a:t>Threat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36326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PPT_AGENDA_PRESENTATION_COLOR_TAG" val="#00007D"/>
  <p:tag name="POWER_USER_PPT_AGENDA_PRESENTATION_DIVIDERS_CHECKED_TAG" val="0"/>
  <p:tag name="POWER_USER_PPT_AGENDA_PRESENTATION_TABLE_OF_CONTENT_CHECKED_TAG" val="1"/>
  <p:tag name="POWER_USER_PPT_AGENDA_PRESENTATION_TITLE_TEXT_TAG" val="Agenda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  <p:tag name="ARTICULATE_DESIGN_ID_OFFICE THEME" val="syyYgZJJ"/>
  <p:tag name="ARTICULATE_SLIDE_COUNT" val="50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Office Theme">
  <a:themeElements>
    <a:clrScheme name="Infographics">
      <a:dk1>
        <a:sysClr val="windowText" lastClr="000000"/>
      </a:dk1>
      <a:lt1>
        <a:sysClr val="window" lastClr="FFFFFF"/>
      </a:lt1>
      <a:dk2>
        <a:srgbClr val="58595B"/>
      </a:dk2>
      <a:lt2>
        <a:srgbClr val="F1F2F2"/>
      </a:lt2>
      <a:accent1>
        <a:srgbClr val="00007D"/>
      </a:accent1>
      <a:accent2>
        <a:srgbClr val="1428A0"/>
      </a:accent2>
      <a:accent3>
        <a:srgbClr val="0077C8"/>
      </a:accent3>
      <a:accent4>
        <a:srgbClr val="00B3E3"/>
      </a:accent4>
      <a:accent5>
        <a:srgbClr val="00C3B2"/>
      </a:accent5>
      <a:accent6>
        <a:srgbClr val="97D653"/>
      </a:accent6>
      <a:hlink>
        <a:srgbClr val="00007D"/>
      </a:hlink>
      <a:folHlink>
        <a:srgbClr val="00007D"/>
      </a:folHlink>
    </a:clrScheme>
    <a:fontScheme name="Custom 157">
      <a:majorFont>
        <a:latin typeface="Tahoma bold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2" Type="http://schemas.microsoft.com/office/2011/relationships/webextension" Target="webextension2.xml"/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0">
    <wetp:webextensionref xmlns:r="http://schemas.openxmlformats.org/officeDocument/2006/relationships" r:id="rId1"/>
  </wetp:taskpane>
  <wetp:taskpane dockstate="right" visibility="0" width="350" row="9">
    <wetp:webextensionref xmlns:r="http://schemas.openxmlformats.org/officeDocument/2006/relationships" r:id="rId2"/>
  </wetp:taskpane>
</wetp:taskpanes>
</file>

<file path=ppt/webextensions/webextension1.xml><?xml version="1.0" encoding="utf-8"?>
<we:webextension xmlns:we="http://schemas.microsoft.com/office/webextensions/webextension/2010/11" id="{4F0DB6AD-AA6A-49C8-9264-101355AEA7B2}">
  <we:reference id="wa104381063" version="1.0.0.1" store="en-US" storeType="OMEX"/>
  <we:alternateReferences>
    <we:reference id="WA104381063" version="1.0.0.1" store="" storeType="OMEX"/>
  </we:alternateReferences>
  <we:properties/>
  <we:bindings/>
  <we:snapshot xmlns:r="http://schemas.openxmlformats.org/officeDocument/2006/relationships"/>
</we:webextension>
</file>

<file path=ppt/webextensions/webextension2.xml><?xml version="1.0" encoding="utf-8"?>
<we:webextension xmlns:we="http://schemas.microsoft.com/office/webextensions/webextension/2010/11" id="{B62E04DD-50D8-4D76-9848-6555A8D2B5D4}">
  <we:reference id="wa200001396" version="2.1.6.0" store="en-001" storeType="OMEX"/>
  <we:alternateReferences>
    <we:reference id="wa200001396" version="2.1.6.0" store="en-001" storeType="OMEX"/>
  </we:alternateReferences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otalTime>20192</TotalTime>
  <Words>68</Words>
  <Application>Microsoft Office PowerPoint</Application>
  <PresentationFormat>Widescreen</PresentationFormat>
  <Paragraphs>14</Paragraphs>
  <Slides>1</Slides>
  <Notes>1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Tahoma</vt:lpstr>
      <vt:lpstr>Tahoma bold</vt:lpstr>
      <vt:lpstr>Office Theme</vt:lpstr>
      <vt:lpstr>Slide Title Her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w monir</dc:creator>
  <cp:lastModifiedBy>andrew monir</cp:lastModifiedBy>
  <cp:revision>519</cp:revision>
  <dcterms:created xsi:type="dcterms:W3CDTF">2020-11-27T23:09:27Z</dcterms:created>
  <dcterms:modified xsi:type="dcterms:W3CDTF">2021-04-06T18:43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4BB15136-D798-4488-8D6D-3187EBF00F3F</vt:lpwstr>
  </property>
  <property fmtid="{D5CDD505-2E9C-101B-9397-08002B2CF9AE}" pid="3" name="ArticulatePath">
    <vt:lpwstr>https://d.docs.live.net/a32d64b1d32ea93c/Infographics/Infographics/Master file</vt:lpwstr>
  </property>
</Properties>
</file>